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8" r:id="rId4"/>
  </p:sldMasterIdLst>
  <p:notesMasterIdLst>
    <p:notesMasterId r:id="rId31"/>
  </p:notesMasterIdLst>
  <p:sldIdLst>
    <p:sldId id="256" r:id="rId5"/>
    <p:sldId id="299" r:id="rId6"/>
    <p:sldId id="300" r:id="rId7"/>
    <p:sldId id="257" r:id="rId8"/>
    <p:sldId id="316" r:id="rId9"/>
    <p:sldId id="281" r:id="rId10"/>
    <p:sldId id="310" r:id="rId11"/>
    <p:sldId id="308" r:id="rId12"/>
    <p:sldId id="313" r:id="rId13"/>
    <p:sldId id="301" r:id="rId14"/>
    <p:sldId id="303" r:id="rId15"/>
    <p:sldId id="312" r:id="rId16"/>
    <p:sldId id="294" r:id="rId17"/>
    <p:sldId id="295" r:id="rId18"/>
    <p:sldId id="296" r:id="rId19"/>
    <p:sldId id="297" r:id="rId20"/>
    <p:sldId id="311" r:id="rId21"/>
    <p:sldId id="289" r:id="rId22"/>
    <p:sldId id="290" r:id="rId23"/>
    <p:sldId id="305" r:id="rId24"/>
    <p:sldId id="291" r:id="rId25"/>
    <p:sldId id="292" r:id="rId26"/>
    <p:sldId id="306" r:id="rId27"/>
    <p:sldId id="307" r:id="rId28"/>
    <p:sldId id="315" r:id="rId29"/>
    <p:sldId id="309" r:id="rId30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1671F8-A1B9-4B98-87CE-B827BACA7854}" type="datetimeFigureOut">
              <a:rPr lang="en-US" smtClean="0"/>
              <a:t>12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BA1D0F-4847-4091-98D2-65C15B3665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1372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pecialist subgroups – professional societies – formed to promote professional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0352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742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8816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e SANC – 1</a:t>
            </a:r>
            <a:r>
              <a:rPr lang="en-US" baseline="30000"/>
              <a:t>st</a:t>
            </a:r>
            <a:r>
              <a:rPr lang="en-US"/>
              <a:t> priority is to protect the SA public through governing the nursing profession</a:t>
            </a:r>
          </a:p>
          <a:p>
            <a:r>
              <a:rPr lang="en-US"/>
              <a:t>Nurses and midwives can join a trade</a:t>
            </a:r>
            <a:r>
              <a:rPr lang="en-US" baseline="0"/>
              <a:t> union/professional organization or association of their choic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786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tecting nurses against exploitation and hazardous employment situ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130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yer, N. et al. 2022. </a:t>
            </a:r>
            <a:r>
              <a:rPr lang="en-US" sz="1200" i="1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new approach to professional practice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2</a:t>
            </a:r>
            <a:r>
              <a:rPr lang="en-US" sz="1200" kern="1200" baseline="300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d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dition, JUTA. p. 239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9777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rom the student contr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0319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OSATU – Congress of South African Trade Unions – biggest federation in the country with over 1.9 million me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3256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t one stage or another, we are all users of healthcare services, and should be concerned</a:t>
            </a:r>
            <a:r>
              <a:rPr lang="en-US" baseline="0"/>
              <a:t> about the kind of reception we get when entering a healthcare facility, and the contribution we can make to ensure nurses feel adequately protected and motivate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184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69194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icketing</a:t>
            </a:r>
            <a:r>
              <a:rPr lang="en-US" baseline="0"/>
              <a:t> at the workplace is effective in private healthcare – avoid negative publicity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BA1D0F-4847-4091-98D2-65C15B36655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99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83538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970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2" name="Picture 380" descr="Image result for digital health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309" y="4580"/>
            <a:ext cx="10278868" cy="685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4986518-072D-4F2B-85DF-1B00057B54D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0A3F958-5AFB-4A40-99E3-820CADD902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387" t="18703" r="43487" b="4630"/>
          <a:stretch/>
        </p:blipFill>
        <p:spPr bwMode="ltGray">
          <a:xfrm>
            <a:off x="1" y="1"/>
            <a:ext cx="7023100" cy="6865505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ltGray">
          <a:xfrm>
            <a:off x="298475" y="1765832"/>
            <a:ext cx="5278717" cy="1313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4267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 algn="l" defTabSz="1591726" rtl="0" eaLnBrk="1" fontAlgn="base" hangingPunct="1">
              <a:spcBef>
                <a:spcPct val="0"/>
              </a:spcBef>
              <a:spcAft>
                <a:spcPct val="0"/>
              </a:spcAft>
              <a:buNone/>
              <a:tabLst>
                <a:tab pos="479775" algn="l"/>
              </a:tabLst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ltGray">
          <a:xfrm>
            <a:off x="298475" y="3974088"/>
            <a:ext cx="5278717" cy="2873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67" cap="all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 algn="l" defTabSz="1193734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None/>
            </a:pPr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98477" y="5812948"/>
            <a:ext cx="408980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21917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427D1EC-9B46-4E08-8C90-064BB2BF5274}"/>
              </a:ext>
            </a:extLst>
          </p:cNvPr>
          <p:cNvSpPr/>
          <p:nvPr/>
        </p:nvSpPr>
        <p:spPr bwMode="ltGray">
          <a:xfrm>
            <a:off x="4322" y="355999"/>
            <a:ext cx="2658989" cy="9500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C9C14CE-0839-4B18-8A55-32555DBE8CB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43785" y="388496"/>
            <a:ext cx="2119525" cy="885077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53F4483-104E-42EA-B27D-C56A6FF1B3DC}"/>
              </a:ext>
            </a:extLst>
          </p:cNvPr>
          <p:cNvCxnSpPr>
            <a:cxnSpLocks/>
          </p:cNvCxnSpPr>
          <p:nvPr/>
        </p:nvCxnSpPr>
        <p:spPr bwMode="ltGray">
          <a:xfrm flipV="1">
            <a:off x="5285617" y="267714"/>
            <a:ext cx="1385111" cy="6330075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5940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C0AFA-F9BC-4D1D-8764-094D61130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C0AFA-F9BC-4D1D-8764-094D61130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3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D86C90-4689-46F2-BC65-69D3F62C1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8"/>
            <a:ext cx="1231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203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0A1FF9-3132-4F62-A932-5B7DCFFECE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0A1FF9-3132-4F62-A932-5B7DCFFE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5FEAE-53A3-4158-8CA1-8BBF35CD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63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7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LHC - IT Assessement Initial Findings v9 .pptx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100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0" y="0"/>
            <a:ext cx="12032857" cy="679731"/>
          </a:xfrm>
          <a:prstGeom prst="roundRect">
            <a:avLst/>
          </a:prstGeom>
          <a:solidFill>
            <a:srgbClr val="0A32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127181" y="129447"/>
            <a:ext cx="11393598" cy="420835"/>
          </a:xfrm>
        </p:spPr>
        <p:txBody>
          <a:bodyPr>
            <a:normAutofit/>
          </a:bodyPr>
          <a:lstStyle>
            <a:lvl1pPr>
              <a:defRPr sz="2200" b="0" i="0" baseline="0">
                <a:solidFill>
                  <a:schemeClr val="bg1"/>
                </a:solidFill>
                <a:latin typeface="Gotham Narrow Medium" charset="0"/>
                <a:ea typeface="Gotham Narrow Medium" charset="0"/>
                <a:cs typeface="Gotham Narrow Medium" charset="0"/>
              </a:defRPr>
            </a:lvl1pPr>
          </a:lstStyle>
          <a:p>
            <a:r>
              <a:rPr lang="en-US" dirty="0"/>
              <a:t>GENERIC SLID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2787" y="5983551"/>
            <a:ext cx="2439214" cy="8744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277" y="6048649"/>
            <a:ext cx="1604676" cy="620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32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336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6622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1/2023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066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microsoft.com/office/2007/relationships/hdphoto" Target="../media/hdphoto1.wdp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6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6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6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51C331AB-E68B-49EF-927F-6AA0F00E22F0}"/>
              </a:ext>
            </a:extLst>
          </p:cNvPr>
          <p:cNvPicPr>
            <a:picLocks noChangeAspect="1"/>
          </p:cNvPicPr>
          <p:nvPr/>
        </p:nvPicPr>
        <p:blipFill rotWithShape="1">
          <a:blip r:embed="rId31" cstate="email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1" y="1"/>
            <a:ext cx="12192000" cy="1115439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ltGray">
          <a:xfrm>
            <a:off x="345873" y="626024"/>
            <a:ext cx="11541596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45873" y="51368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45873" y="1151897"/>
            <a:ext cx="11541596" cy="328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362378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6" marR="0" lvl="0" indent="-114296" algn="l" defTabSz="11937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01951"/>
            <a:ext cx="10261540" cy="164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658250" marR="0" lvl="0" indent="-658250" algn="l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3676878" y="1972391"/>
            <a:ext cx="4389573" cy="675433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256362" y="1208621"/>
            <a:ext cx="631113" cy="201081"/>
            <a:chOff x="8276889" y="285750"/>
            <a:chExt cx="463886" cy="19707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3" y="285750"/>
              <a:ext cx="457492" cy="18809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15917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6889" y="285750"/>
              <a:ext cx="0" cy="19707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6889" y="482829"/>
              <a:ext cx="4638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10948634" y="1202143"/>
            <a:ext cx="942043" cy="1075530"/>
            <a:chOff x="7835905" y="279400"/>
            <a:chExt cx="923275" cy="1054121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3" y="27940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3" y="549275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3" y="820740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6" y="1092201"/>
              <a:ext cx="669274" cy="2413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10634412" y="1202145"/>
            <a:ext cx="1256276" cy="803413"/>
            <a:chOff x="7540629" y="279400"/>
            <a:chExt cx="1231248" cy="78741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3" y="279400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3" y="546099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3" y="825498"/>
              <a:ext cx="669274" cy="2413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10880611" y="1172986"/>
            <a:ext cx="1010072" cy="1378429"/>
            <a:chOff x="7769225" y="250825"/>
            <a:chExt cx="989949" cy="1350987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12191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0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7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3"/>
              <a:ext cx="66927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19373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1E3D57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61" name="Text Placeholder 2"/>
          <p:cNvSpPr>
            <a:spLocks noGrp="1"/>
          </p:cNvSpPr>
          <p:nvPr>
            <p:ph type="body" idx="1"/>
          </p:nvPr>
        </p:nvSpPr>
        <p:spPr bwMode="ltGray">
          <a:xfrm>
            <a:off x="3676878" y="2803894"/>
            <a:ext cx="4389573" cy="1641155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lIns="0" tIns="0" rIns="0" bIns="0" rtlCol="0">
            <a:spAutoFit/>
          </a:bodyPr>
          <a:lstStyle/>
          <a:p>
            <a:pPr lvl="0" defTabSz="1193746"/>
            <a:r>
              <a:rPr lang="en-US"/>
              <a:t>Click to edit Master text styles</a:t>
            </a:r>
          </a:p>
          <a:p>
            <a:pPr lvl="1" defTabSz="1193746"/>
            <a:r>
              <a:rPr lang="en-US"/>
              <a:t>Second level</a:t>
            </a:r>
          </a:p>
          <a:p>
            <a:pPr lvl="2" defTabSz="1193746"/>
            <a:r>
              <a:rPr lang="en-US"/>
              <a:t>Third level</a:t>
            </a:r>
          </a:p>
          <a:p>
            <a:pPr lvl="3" defTabSz="1193746"/>
            <a:r>
              <a:rPr lang="en-US"/>
              <a:t>Fourth level</a:t>
            </a:r>
          </a:p>
          <a:p>
            <a:pPr lvl="4" defTabSz="1193746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BD0B84-1948-41BC-BA35-D0ECCAD96D09}"/>
              </a:ext>
            </a:extLst>
          </p:cNvPr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560713" y="6369234"/>
            <a:ext cx="1011207" cy="422263"/>
          </a:xfrm>
          <a:prstGeom prst="rect">
            <a:avLst/>
          </a:prstGeom>
        </p:spPr>
      </p:pic>
      <p:sp>
        <p:nvSpPr>
          <p:cNvPr id="62" name="Slide Number">
            <a:extLst>
              <a:ext uri="{FF2B5EF4-FFF2-40B4-BE49-F238E27FC236}">
                <a16:creationId xmlns:a16="http://schemas.microsoft.com/office/drawing/2014/main" id="{1434D8F5-7029-4161-9BD3-3ADD4FE1DB84}"/>
              </a:ext>
            </a:extLst>
          </p:cNvPr>
          <p:cNvSpPr txBox="1">
            <a:spLocks/>
          </p:cNvSpPr>
          <p:nvPr/>
        </p:nvSpPr>
        <p:spPr bwMode="ltGray">
          <a:xfrm>
            <a:off x="11653657" y="6621170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C9B6230-0CEC-4F8D-BD56-23BDF3E424C9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69" b="10389"/>
          <a:stretch/>
        </p:blipFill>
        <p:spPr bwMode="ltGray">
          <a:xfrm>
            <a:off x="1" y="343313"/>
            <a:ext cx="275544" cy="772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012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p:txStyles>
    <p:titleStyle>
      <a:lvl1pPr algn="l" defTabSz="1591726" rtl="0" eaLnBrk="1" fontAlgn="base" hangingPunct="1">
        <a:spcBef>
          <a:spcPct val="0"/>
        </a:spcBef>
        <a:spcAft>
          <a:spcPct val="0"/>
        </a:spcAft>
        <a:tabLst>
          <a:tab pos="479775" algn="l"/>
        </a:tabLst>
        <a:defRPr sz="2667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2pPr>
      <a:lvl3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3pPr>
      <a:lvl4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4pPr>
      <a:lvl5pPr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5pPr>
      <a:lvl6pPr marL="812796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6pPr>
      <a:lvl7pPr marL="1625591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7pPr>
      <a:lvl8pPr marL="2438388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8pPr>
      <a:lvl9pPr marL="3251184" algn="l" defTabSz="1591726" rtl="0" eaLnBrk="1" fontAlgn="base" hangingPunct="1">
        <a:spcBef>
          <a:spcPct val="0"/>
        </a:spcBef>
        <a:spcAft>
          <a:spcPct val="0"/>
        </a:spcAft>
        <a:defRPr sz="3377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59186" indent="-254386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95168" indent="-331181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20755" indent="-206387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2133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98346" indent="-172790" algn="l" defTabSz="1193734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2133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6pPr>
      <a:lvl7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7pPr>
      <a:lvl8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8pPr>
      <a:lvl9pPr marL="1332985" indent="-231421" algn="l" defTabSz="15917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84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796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59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38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184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398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775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571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368" algn="l" defTabSz="1625591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jpeg"/><Relationship Id="rId4" Type="http://schemas.microsoft.com/office/2007/relationships/hdphoto" Target="../media/hdphoto3.wdp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1"/>
            <a:ext cx="8825658" cy="2115532"/>
          </a:xfrm>
        </p:spPr>
        <p:txBody>
          <a:bodyPr>
            <a:normAutofit/>
          </a:bodyPr>
          <a:lstStyle/>
          <a:p>
            <a:r>
              <a:rPr lang="en-ZA" sz="4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fessional nursing associations and trade unions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1600" dirty="0">
                <a:solidFill>
                  <a:srgbClr val="0070C0"/>
                </a:solidFill>
              </a:rPr>
              <a:t>HC and D1 FNP LO 1.3 </a:t>
            </a:r>
          </a:p>
          <a:p>
            <a:pPr algn="ctr"/>
            <a:r>
              <a:rPr lang="en-ZA" sz="1600" dirty="0">
                <a:solidFill>
                  <a:srgbClr val="0070C0"/>
                </a:solidFill>
              </a:rPr>
              <a:t>M de Beer</a:t>
            </a:r>
          </a:p>
        </p:txBody>
      </p:sp>
    </p:spTree>
    <p:extLst>
      <p:ext uri="{BB962C8B-B14F-4D97-AF65-F5344CB8AC3E}">
        <p14:creationId xmlns:p14="http://schemas.microsoft.com/office/powerpoint/2010/main" val="1935092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algn="ctr"/>
            <a:r>
              <a:rPr lang="en-ZA" sz="6600" b="1"/>
              <a:t>Indemnity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26527" y="3378973"/>
            <a:ext cx="5329644" cy="269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6453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Indemnity defini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5874" y="2803894"/>
            <a:ext cx="11541596" cy="2740872"/>
          </a:xfrm>
        </p:spPr>
        <p:txBody>
          <a:bodyPr>
            <a:normAutofit fontScale="85000" lnSpcReduction="20000"/>
          </a:bodyPr>
          <a:lstStyle/>
          <a:p>
            <a:r>
              <a:rPr lang="en-ZA" sz="2800" dirty="0"/>
              <a:t>Insurance cover </a:t>
            </a:r>
          </a:p>
          <a:p>
            <a:endParaRPr lang="en-ZA" sz="2800" dirty="0"/>
          </a:p>
          <a:p>
            <a:r>
              <a:rPr lang="en-ZA" sz="2800" dirty="0"/>
              <a:t>Required by law and the employer </a:t>
            </a:r>
          </a:p>
          <a:p>
            <a:endParaRPr lang="en-ZA" sz="2800" dirty="0"/>
          </a:p>
          <a:p>
            <a:r>
              <a:rPr lang="en-ZA" sz="2800" dirty="0"/>
              <a:t>Protection against all claims potentially brought against the nurse for negligence on duty </a:t>
            </a:r>
          </a:p>
          <a:p>
            <a:endParaRPr lang="en-ZA" sz="2800" dirty="0"/>
          </a:p>
          <a:p>
            <a:r>
              <a:rPr lang="en-ZA" sz="2800" dirty="0"/>
              <a:t>Negligence implies failure to act properly according to expected standard OR failure to act at all. </a:t>
            </a:r>
          </a:p>
        </p:txBody>
      </p:sp>
    </p:spTree>
    <p:extLst>
      <p:ext uri="{BB962C8B-B14F-4D97-AF65-F5344CB8AC3E}">
        <p14:creationId xmlns:p14="http://schemas.microsoft.com/office/powerpoint/2010/main" val="21596187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55713"/>
            <a:ext cx="11195050" cy="4381500"/>
          </a:xfrm>
        </p:spPr>
      </p:pic>
    </p:spTree>
    <p:extLst>
      <p:ext uri="{BB962C8B-B14F-4D97-AF65-F5344CB8AC3E}">
        <p14:creationId xmlns:p14="http://schemas.microsoft.com/office/powerpoint/2010/main" val="36193827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DENOS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1257" y="1907177"/>
            <a:ext cx="5742326" cy="4950823"/>
          </a:xfrm>
        </p:spPr>
        <p:txBody>
          <a:bodyPr>
            <a:normAutofit/>
          </a:bodyPr>
          <a:lstStyle/>
          <a:p>
            <a:r>
              <a:rPr lang="en-ZA" sz="2400"/>
              <a:t>Union:</a:t>
            </a:r>
          </a:p>
          <a:p>
            <a:pPr lvl="1"/>
            <a:r>
              <a:rPr lang="en-ZA" sz="2400"/>
              <a:t>Responsible for collective bargaining to determine wages, terms and conditions for employment, etc. </a:t>
            </a:r>
          </a:p>
          <a:p>
            <a:pPr lvl="1"/>
            <a:r>
              <a:rPr lang="en-ZA" sz="2400"/>
              <a:t>To strengthen nurses’ collective bargaining power</a:t>
            </a:r>
          </a:p>
          <a:p>
            <a:pPr lvl="1"/>
            <a:r>
              <a:rPr lang="en-ZA" sz="2400"/>
              <a:t>Affiliated with Congress of South African Trade Unions (COSATU), and the ICN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1907177"/>
            <a:ext cx="5422392" cy="4950823"/>
          </a:xfrm>
        </p:spPr>
        <p:txBody>
          <a:bodyPr>
            <a:normAutofit/>
          </a:bodyPr>
          <a:lstStyle/>
          <a:p>
            <a:r>
              <a:rPr lang="en-ZA" sz="2400"/>
              <a:t>Professional:</a:t>
            </a:r>
          </a:p>
          <a:p>
            <a:pPr lvl="1"/>
            <a:r>
              <a:rPr lang="en-ZA" sz="2200"/>
              <a:t>Responsible for policy statements on key issues, e.g. standpoint on abortion or research ethics.</a:t>
            </a:r>
          </a:p>
          <a:p>
            <a:pPr lvl="1"/>
            <a:r>
              <a:rPr lang="en-ZA" sz="2200"/>
              <a:t>Assists with CPD – offers grants and bursaries</a:t>
            </a:r>
          </a:p>
          <a:p>
            <a:pPr lvl="1"/>
            <a:r>
              <a:rPr lang="en-ZA" sz="2200"/>
              <a:t>Promotes scholarships through its accredited journal – </a:t>
            </a:r>
            <a:r>
              <a:rPr lang="en-ZA" sz="2200" i="1" err="1"/>
              <a:t>Curationis</a:t>
            </a:r>
            <a:r>
              <a:rPr lang="en-ZA" sz="2200"/>
              <a:t>. </a:t>
            </a:r>
          </a:p>
          <a:p>
            <a:pPr lvl="1"/>
            <a:r>
              <a:rPr lang="en-ZA" sz="2200"/>
              <a:t>Provides professional indemnity insurance – assists nurses during legal litigations.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2133" y="595174"/>
            <a:ext cx="340995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436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uth African democratic nurse’s union (SADNU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3315" y="1893442"/>
            <a:ext cx="7029503" cy="2503127"/>
          </a:xfrm>
        </p:spPr>
        <p:txBody>
          <a:bodyPr>
            <a:normAutofit/>
          </a:bodyPr>
          <a:lstStyle/>
          <a:p>
            <a:r>
              <a:rPr lang="en-ZA" sz="2800" dirty="0"/>
              <a:t>Founded in 1995</a:t>
            </a:r>
          </a:p>
          <a:p>
            <a:r>
              <a:rPr lang="en-ZA" sz="2800" dirty="0"/>
              <a:t>Strives to improve working conditions</a:t>
            </a:r>
          </a:p>
          <a:p>
            <a:r>
              <a:rPr lang="en-ZA" sz="2800" dirty="0"/>
              <a:t>Through collective bargaining </a:t>
            </a:r>
          </a:p>
          <a:p>
            <a:r>
              <a:rPr lang="en-ZA" sz="2800" dirty="0"/>
              <a:t>Affiliate of COSATU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9029" y="3145006"/>
            <a:ext cx="2908253" cy="225817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75307" y="1152983"/>
            <a:ext cx="4349092" cy="179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2882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National education, health and allied workers union (NEHAWU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9303" y="1772239"/>
            <a:ext cx="8383679" cy="4619133"/>
          </a:xfrm>
        </p:spPr>
        <p:txBody>
          <a:bodyPr/>
          <a:lstStyle/>
          <a:p>
            <a:r>
              <a:rPr lang="en-ZA" dirty="0"/>
              <a:t>Represents a broad spectrum of workers</a:t>
            </a:r>
          </a:p>
          <a:p>
            <a:r>
              <a:rPr lang="en-ZA" dirty="0"/>
              <a:t>Founded 1987</a:t>
            </a:r>
          </a:p>
          <a:p>
            <a:r>
              <a:rPr lang="en-ZA" dirty="0"/>
              <a:t>Affiliated with COSATU</a:t>
            </a:r>
          </a:p>
          <a:p>
            <a:r>
              <a:rPr lang="en-ZA" dirty="0"/>
              <a:t>Its strongpoint is collective bargaining </a:t>
            </a:r>
          </a:p>
          <a:p>
            <a:r>
              <a:rPr lang="en-ZA" dirty="0"/>
              <a:t>Based on the following principles:</a:t>
            </a:r>
          </a:p>
          <a:p>
            <a:pPr lvl="2"/>
            <a:r>
              <a:rPr lang="en-ZA" dirty="0"/>
              <a:t>Worker control of the union </a:t>
            </a:r>
          </a:p>
          <a:p>
            <a:pPr lvl="2"/>
            <a:r>
              <a:rPr lang="en-ZA" dirty="0"/>
              <a:t>Worker leadership</a:t>
            </a:r>
          </a:p>
          <a:p>
            <a:pPr lvl="2"/>
            <a:r>
              <a:rPr lang="en-ZA" dirty="0"/>
              <a:t>Democratic decision making through mandates and report-backs</a:t>
            </a:r>
          </a:p>
          <a:p>
            <a:pPr lvl="2"/>
            <a:r>
              <a:rPr lang="en-ZA" dirty="0"/>
              <a:t>Worker solidar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52982" y="1324615"/>
            <a:ext cx="3139018" cy="296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3118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3600" dirty="0"/>
              <a:t>Health and other services personnel trade union of SA (HOSPERS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1851" y="1847654"/>
            <a:ext cx="8804635" cy="3282309"/>
          </a:xfrm>
        </p:spPr>
        <p:txBody>
          <a:bodyPr/>
          <a:lstStyle/>
          <a:p>
            <a:r>
              <a:rPr lang="en-ZA" dirty="0"/>
              <a:t>Members of public service and the private sector, and NGO’s</a:t>
            </a:r>
          </a:p>
          <a:p>
            <a:r>
              <a:rPr lang="en-ZA" dirty="0"/>
              <a:t>Most members from private sector: Netcare, Life, Mediclinic, and independent hospitals, SA National Health Lab Services, pharmacies, etc. </a:t>
            </a:r>
          </a:p>
          <a:p>
            <a:endParaRPr lang="en-ZA" dirty="0"/>
          </a:p>
          <a:p>
            <a:r>
              <a:rPr lang="en-ZA" dirty="0"/>
              <a:t>In favour of:</a:t>
            </a:r>
          </a:p>
          <a:p>
            <a:pPr lvl="2"/>
            <a:r>
              <a:rPr lang="en-ZA" dirty="0"/>
              <a:t>Collective bargaining </a:t>
            </a:r>
          </a:p>
          <a:p>
            <a:pPr lvl="2"/>
            <a:r>
              <a:rPr lang="en-ZA" dirty="0"/>
              <a:t>Provision of benefits to members</a:t>
            </a:r>
          </a:p>
          <a:p>
            <a:pPr lvl="2"/>
            <a:r>
              <a:rPr lang="en-ZA" dirty="0"/>
              <a:t>Industrial actions </a:t>
            </a:r>
          </a:p>
          <a:p>
            <a:pPr lvl="2"/>
            <a:r>
              <a:rPr lang="en-ZA" dirty="0"/>
              <a:t>Political activity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11082" y="1568854"/>
            <a:ext cx="2741127" cy="274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4429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LLEN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608" y="2507530"/>
            <a:ext cx="7500843" cy="1937519"/>
          </a:xfrm>
        </p:spPr>
        <p:txBody>
          <a:bodyPr/>
          <a:lstStyle/>
          <a:p>
            <a:r>
              <a:rPr lang="en-US" dirty="0"/>
              <a:t>Acknowledgement of the complexity of the environment </a:t>
            </a:r>
          </a:p>
          <a:p>
            <a:r>
              <a:rPr lang="en-US" dirty="0"/>
              <a:t>Unions need to create awareness among all stakeholders of the complexities of the healthcare profess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0947" y="1371978"/>
            <a:ext cx="2905125" cy="157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950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Strik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1881051"/>
            <a:ext cx="11029615" cy="4689565"/>
          </a:xfrm>
        </p:spPr>
        <p:txBody>
          <a:bodyPr>
            <a:normAutofit/>
          </a:bodyPr>
          <a:lstStyle/>
          <a:p>
            <a:r>
              <a:rPr lang="en-ZA" sz="2800"/>
              <a:t>Essential services personnel can take part in strike action only where a minimum service agreement is in place</a:t>
            </a:r>
          </a:p>
          <a:p>
            <a:r>
              <a:rPr lang="en-ZA" sz="2800"/>
              <a:t>Public sector nurses are denied the right to strike (employment issues are ignored at the bargaining table)</a:t>
            </a:r>
          </a:p>
          <a:p>
            <a:r>
              <a:rPr lang="en-ZA" sz="2800"/>
              <a:t>This leads to frustration </a:t>
            </a:r>
            <a:r>
              <a:rPr lang="en-ZA" sz="2800">
                <a:latin typeface="Century Gothic" panose="020B0502020202020204" pitchFamily="34" charset="0"/>
              </a:rPr>
              <a:t>→ </a:t>
            </a:r>
            <a:r>
              <a:rPr lang="en-ZA" sz="2800"/>
              <a:t>low morale → leaving health services→ worsening the nursing shortage</a:t>
            </a:r>
          </a:p>
        </p:txBody>
      </p:sp>
    </p:spTree>
    <p:extLst>
      <p:ext uri="{BB962C8B-B14F-4D97-AF65-F5344CB8AC3E}">
        <p14:creationId xmlns:p14="http://schemas.microsoft.com/office/powerpoint/2010/main" val="7689663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Essential and maintenance servic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9" y="1853924"/>
            <a:ext cx="11029615" cy="5004076"/>
          </a:xfrm>
        </p:spPr>
        <p:txBody>
          <a:bodyPr>
            <a:normAutofit/>
          </a:bodyPr>
          <a:lstStyle/>
          <a:p>
            <a:r>
              <a:rPr lang="en-ZA" sz="2800" dirty="0"/>
              <a:t>A service that would / could endanger lives, personal safety of health, if the service was to be interrupted. </a:t>
            </a:r>
          </a:p>
          <a:p>
            <a:endParaRPr lang="en-ZA" sz="2800" dirty="0"/>
          </a:p>
          <a:p>
            <a:r>
              <a:rPr lang="en-ZA" sz="2800" dirty="0"/>
              <a:t>A service that can cause physical destruction to a working area if it is interrupted.</a:t>
            </a:r>
          </a:p>
          <a:p>
            <a:endParaRPr lang="en-ZA" sz="2800" dirty="0"/>
          </a:p>
          <a:p>
            <a:r>
              <a:rPr lang="en-ZA" sz="2800" dirty="0"/>
              <a:t>E.g. workers in the health service industry, electricity and sewage. </a:t>
            </a:r>
          </a:p>
          <a:p>
            <a:r>
              <a:rPr lang="en-ZA" sz="2800" dirty="0"/>
              <a:t>Disputes in these services have to be referred to a bargaining council / Commission of Conciliation, Mediation and Arbitration (CCMA).</a:t>
            </a:r>
          </a:p>
        </p:txBody>
      </p:sp>
    </p:spTree>
    <p:extLst>
      <p:ext uri="{BB962C8B-B14F-4D97-AF65-F5344CB8AC3E}">
        <p14:creationId xmlns:p14="http://schemas.microsoft.com/office/powerpoint/2010/main" val="32024361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5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comes</a:t>
            </a:r>
            <a:r>
              <a:rPr lang="en-ZA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08669" y="2347274"/>
            <a:ext cx="10350630" cy="3676454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/>
              <a:t>What is the roles and functions of nursing associations and trade unions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/>
              <a:t>Define indemnity cover and its purpo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2800" dirty="0"/>
              <a:t>Differentiate between strikes and picketing vs Professional practice </a:t>
            </a:r>
          </a:p>
        </p:txBody>
      </p:sp>
    </p:spTree>
    <p:extLst>
      <p:ext uri="{BB962C8B-B14F-4D97-AF65-F5344CB8AC3E}">
        <p14:creationId xmlns:p14="http://schemas.microsoft.com/office/powerpoint/2010/main" val="24734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sz="4400" b="1"/>
              <a:t>Picketing vs striking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5289" y="1276495"/>
            <a:ext cx="2952750" cy="15525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3456" y="1307329"/>
            <a:ext cx="2614013" cy="1657350"/>
          </a:xfrm>
          <a:prstGeom prst="rect">
            <a:avLst/>
          </a:prstGeom>
        </p:spPr>
      </p:pic>
      <p:pic>
        <p:nvPicPr>
          <p:cNvPr id="2050" name="Picture 2" descr="On Strike Images – Browse 559,732 Stock Photos, Vectors, and ...">
            <a:extLst>
              <a:ext uri="{FF2B5EF4-FFF2-40B4-BE49-F238E27FC236}">
                <a16:creationId xmlns:a16="http://schemas.microsoft.com/office/drawing/2014/main" id="{97813D40-3BFF-3CA6-4B9F-9B9BE11A05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35" y="1431154"/>
            <a:ext cx="2381250" cy="140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Labor Strikes Surged This Fall As Thousands at 25 Companies ...">
            <a:extLst>
              <a:ext uri="{FF2B5EF4-FFF2-40B4-BE49-F238E27FC236}">
                <a16:creationId xmlns:a16="http://schemas.microsoft.com/office/drawing/2014/main" id="{A1B0A87F-2826-6A89-3457-A773CE968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332" y="4137879"/>
            <a:ext cx="3454120" cy="2112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ovid-19 crisis: Govt allows PPE exports after prices crash over 65%">
            <a:extLst>
              <a:ext uri="{FF2B5EF4-FFF2-40B4-BE49-F238E27FC236}">
                <a16:creationId xmlns:a16="http://schemas.microsoft.com/office/drawing/2014/main" id="{25AB2151-6161-D238-30F7-0960851E39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6255" y="3701279"/>
            <a:ext cx="4034378" cy="2271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9D25DA-ADD0-B1EB-EEEF-34238D212B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2499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Picket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9435" y="1715678"/>
            <a:ext cx="9898143" cy="3610540"/>
          </a:xfrm>
        </p:spPr>
        <p:txBody>
          <a:bodyPr/>
          <a:lstStyle/>
          <a:p>
            <a:r>
              <a:rPr lang="en-ZA" dirty="0"/>
              <a:t>Union members standing at an entrance to workplaces with various banners and placards, stating their reason for being there.</a:t>
            </a:r>
          </a:p>
          <a:p>
            <a:r>
              <a:rPr lang="en-ZA" dirty="0"/>
              <a:t>Enables strikers to communicate their message. </a:t>
            </a:r>
          </a:p>
          <a:p>
            <a:endParaRPr lang="en-ZA" dirty="0"/>
          </a:p>
          <a:p>
            <a:r>
              <a:rPr lang="en-ZA" dirty="0"/>
              <a:t>Rules for picketing as per LRA:</a:t>
            </a:r>
          </a:p>
          <a:p>
            <a:pPr lvl="1"/>
            <a:r>
              <a:rPr lang="en-ZA" dirty="0"/>
              <a:t>Authorise by union to be peaceful </a:t>
            </a:r>
          </a:p>
          <a:p>
            <a:r>
              <a:rPr lang="en-ZA" dirty="0"/>
              <a:t>Purpose:</a:t>
            </a:r>
          </a:p>
          <a:p>
            <a:pPr lvl="2"/>
            <a:r>
              <a:rPr lang="en-ZA" dirty="0"/>
              <a:t>Make sure the strike is supported</a:t>
            </a:r>
          </a:p>
          <a:p>
            <a:pPr lvl="2"/>
            <a:r>
              <a:rPr lang="en-ZA" dirty="0"/>
              <a:t>Persuade non-strikers to join </a:t>
            </a:r>
          </a:p>
          <a:p>
            <a:endParaRPr lang="en-ZA" dirty="0"/>
          </a:p>
          <a:p>
            <a:r>
              <a:rPr lang="en-ZA" dirty="0"/>
              <a:t>Employer may make use of replacement labour during a strike. </a:t>
            </a:r>
          </a:p>
        </p:txBody>
      </p:sp>
    </p:spTree>
    <p:extLst>
      <p:ext uri="{BB962C8B-B14F-4D97-AF65-F5344CB8AC3E}">
        <p14:creationId xmlns:p14="http://schemas.microsoft.com/office/powerpoint/2010/main" val="32675423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Strikes and ethical concerns of a nurs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5485" y="1819374"/>
            <a:ext cx="10369483" cy="3610540"/>
          </a:xfrm>
        </p:spPr>
        <p:txBody>
          <a:bodyPr/>
          <a:lstStyle/>
          <a:p>
            <a:r>
              <a:rPr lang="en-ZA" dirty="0"/>
              <a:t>Nursing is an essential service </a:t>
            </a:r>
          </a:p>
          <a:p>
            <a:endParaRPr lang="en-ZA" dirty="0"/>
          </a:p>
          <a:p>
            <a:r>
              <a:rPr lang="en-ZA" dirty="0"/>
              <a:t>Striking becomes an ethical dilemma for nurses (Nurses Pledge)</a:t>
            </a:r>
          </a:p>
          <a:p>
            <a:endParaRPr lang="en-ZA" dirty="0"/>
          </a:p>
          <a:p>
            <a:r>
              <a:rPr lang="en-ZA" dirty="0"/>
              <a:t>Nurses are meant to be caring individuals, but are also workers and breadwinners, and has the right to work in a safe environment.</a:t>
            </a:r>
          </a:p>
          <a:p>
            <a:endParaRPr lang="en-ZA" dirty="0"/>
          </a:p>
          <a:p>
            <a:r>
              <a:rPr lang="en-ZA" dirty="0"/>
              <a:t>Nurses should take all measures to ensure they are not risking the lives of their patients.</a:t>
            </a:r>
          </a:p>
          <a:p>
            <a:endParaRPr lang="en-ZA" dirty="0"/>
          </a:p>
          <a:p>
            <a:r>
              <a:rPr lang="en-ZA" dirty="0"/>
              <a:t>Nursing strikes lower the standard of patient care. </a:t>
            </a:r>
          </a:p>
        </p:txBody>
      </p:sp>
    </p:spTree>
    <p:extLst>
      <p:ext uri="{BB962C8B-B14F-4D97-AF65-F5344CB8AC3E}">
        <p14:creationId xmlns:p14="http://schemas.microsoft.com/office/powerpoint/2010/main" val="4095849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Class activit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6375" y="2639506"/>
            <a:ext cx="9577633" cy="2625847"/>
          </a:xfrm>
        </p:spPr>
        <p:txBody>
          <a:bodyPr/>
          <a:lstStyle/>
          <a:p>
            <a:r>
              <a:rPr lang="en-ZA" dirty="0"/>
              <a:t>Debate:</a:t>
            </a:r>
          </a:p>
          <a:p>
            <a:endParaRPr lang="en-ZA" dirty="0"/>
          </a:p>
          <a:p>
            <a:r>
              <a:rPr lang="en-ZA" dirty="0"/>
              <a:t>Group 1: in favour of striking as a healthcare professional </a:t>
            </a:r>
          </a:p>
          <a:p>
            <a:endParaRPr lang="en-ZA" dirty="0"/>
          </a:p>
          <a:p>
            <a:r>
              <a:rPr lang="en-ZA" dirty="0"/>
              <a:t>Group 2: against striking as a healthcare professional </a:t>
            </a:r>
          </a:p>
          <a:p>
            <a:endParaRPr lang="en-ZA" dirty="0"/>
          </a:p>
          <a:p>
            <a:endParaRPr lang="en-ZA" dirty="0"/>
          </a:p>
          <a:p>
            <a:r>
              <a:rPr lang="en-ZA" dirty="0"/>
              <a:t>JUSTIFY </a:t>
            </a:r>
          </a:p>
        </p:txBody>
      </p:sp>
    </p:spTree>
    <p:extLst>
      <p:ext uri="{BB962C8B-B14F-4D97-AF65-F5344CB8AC3E}">
        <p14:creationId xmlns:p14="http://schemas.microsoft.com/office/powerpoint/2010/main" val="33058681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ZA" sz="4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bate rul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334604"/>
          </a:xfrm>
        </p:spPr>
        <p:txBody>
          <a:bodyPr>
            <a:normAutofit/>
          </a:bodyPr>
          <a:lstStyle/>
          <a:p>
            <a:r>
              <a:rPr lang="en-ZA" sz="2800" b="1" dirty="0"/>
              <a:t>Do not make personal attacks </a:t>
            </a:r>
          </a:p>
          <a:p>
            <a:endParaRPr lang="en-ZA" sz="2800" b="1" dirty="0"/>
          </a:p>
          <a:p>
            <a:r>
              <a:rPr lang="en-ZA" sz="2800" dirty="0"/>
              <a:t>State your points based on / supported by </a:t>
            </a:r>
            <a:r>
              <a:rPr lang="en-ZA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cts</a:t>
            </a:r>
            <a:r>
              <a:rPr lang="en-ZA" sz="2800" dirty="0"/>
              <a:t> </a:t>
            </a:r>
          </a:p>
          <a:p>
            <a:endParaRPr lang="en-ZA" sz="2800" dirty="0"/>
          </a:p>
          <a:p>
            <a:r>
              <a:rPr lang="en-ZA" sz="2800" dirty="0"/>
              <a:t>Do not respond with emotions</a:t>
            </a:r>
          </a:p>
          <a:p>
            <a:endParaRPr lang="en-ZA" sz="2800" dirty="0"/>
          </a:p>
          <a:p>
            <a:r>
              <a:rPr lang="en-ZA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ect</a:t>
            </a:r>
            <a:r>
              <a:rPr lang="en-ZA" sz="2800" dirty="0"/>
              <a:t> each other's point of view. </a:t>
            </a:r>
          </a:p>
          <a:p>
            <a:endParaRPr lang="en-ZA" sz="2800" dirty="0"/>
          </a:p>
          <a:p>
            <a:r>
              <a:rPr lang="en-ZA" sz="2800" dirty="0"/>
              <a:t>Be </a:t>
            </a:r>
            <a:r>
              <a:rPr lang="en-ZA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ectful</a:t>
            </a:r>
            <a:r>
              <a:rPr lang="en-ZA" sz="2800" dirty="0"/>
              <a:t> and let each other talk – do not interrupt each other</a:t>
            </a:r>
          </a:p>
          <a:p>
            <a:r>
              <a:rPr lang="en-ZA" sz="2800" dirty="0"/>
              <a:t>Conduct a civil debate – </a:t>
            </a:r>
            <a:r>
              <a:rPr lang="en-ZA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shouting</a:t>
            </a:r>
            <a:r>
              <a:rPr lang="en-ZA" sz="28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109812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D653F6D-12AB-A687-02D6-DAA6FBB439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76878" y="2803894"/>
            <a:ext cx="4389573" cy="328231"/>
          </a:xfrm>
        </p:spPr>
        <p:txBody>
          <a:bodyPr/>
          <a:lstStyle/>
          <a:p>
            <a:r>
              <a:rPr lang="en-US" dirty="0"/>
              <a:t>QUESTIONS ?</a:t>
            </a:r>
          </a:p>
        </p:txBody>
      </p:sp>
    </p:spTree>
    <p:extLst>
      <p:ext uri="{BB962C8B-B14F-4D97-AF65-F5344CB8AC3E}">
        <p14:creationId xmlns:p14="http://schemas.microsoft.com/office/powerpoint/2010/main" val="239078495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FERENCES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865" y="2253006"/>
            <a:ext cx="10897384" cy="2192043"/>
          </a:xfrm>
        </p:spPr>
        <p:txBody>
          <a:bodyPr>
            <a:normAutofit/>
          </a:bodyPr>
          <a:lstStyle/>
          <a:p>
            <a:r>
              <a:rPr lang="en-US" sz="2400" dirty="0"/>
              <a:t>Geyer, N. et al. 2022. </a:t>
            </a:r>
            <a:r>
              <a:rPr lang="en-US" sz="2400" i="1" dirty="0"/>
              <a:t>A new approach to professional practice</a:t>
            </a:r>
            <a:r>
              <a:rPr lang="en-US" sz="2400" dirty="0"/>
              <a:t>. 2</a:t>
            </a:r>
            <a:r>
              <a:rPr lang="en-US" sz="2400" baseline="30000" dirty="0"/>
              <a:t>nd</a:t>
            </a:r>
            <a:r>
              <a:rPr lang="en-US" sz="2400" dirty="0"/>
              <a:t> Edition, JUTA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 err="1"/>
              <a:t>Pera</a:t>
            </a:r>
            <a:r>
              <a:rPr lang="en-US" sz="2400" dirty="0"/>
              <a:t>, S., van </a:t>
            </a:r>
            <a:r>
              <a:rPr lang="en-US" sz="2400" dirty="0" err="1"/>
              <a:t>Tonder</a:t>
            </a:r>
            <a:r>
              <a:rPr lang="en-US" sz="2400" dirty="0"/>
              <a:t>, S. 2022. </a:t>
            </a:r>
            <a:r>
              <a:rPr lang="en-US" sz="2400" i="1" dirty="0"/>
              <a:t>Ethics in Healthcare. </a:t>
            </a:r>
            <a:r>
              <a:rPr lang="en-US" sz="2400" dirty="0"/>
              <a:t>4</a:t>
            </a:r>
            <a:r>
              <a:rPr lang="en-US" sz="2400" baseline="30000" dirty="0"/>
              <a:t>th</a:t>
            </a:r>
            <a:r>
              <a:rPr lang="en-US" sz="2400" dirty="0"/>
              <a:t> Edition, JUTA</a:t>
            </a:r>
          </a:p>
          <a:p>
            <a:pPr marL="0" indent="0">
              <a:buNone/>
            </a:pP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94749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/>
              <a:t>PROFESSIONAL Nursing associations  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67826" y="5274054"/>
            <a:ext cx="3183468" cy="15327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54379" y="4376737"/>
            <a:ext cx="2209800" cy="20669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40248" y="3526942"/>
            <a:ext cx="4238625" cy="10763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1606" y="1439821"/>
            <a:ext cx="2276475" cy="11239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4951494"/>
            <a:ext cx="2700762" cy="186775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0324" y="1492383"/>
            <a:ext cx="2857500" cy="1600200"/>
          </a:xfrm>
          <a:prstGeom prst="rect">
            <a:avLst/>
          </a:prstGeom>
        </p:spPr>
      </p:pic>
      <p:pic>
        <p:nvPicPr>
          <p:cNvPr id="1026" name="Picture 2" descr="Hospersa Online (@HospersaOnline) / X">
            <a:extLst>
              <a:ext uri="{FF2B5EF4-FFF2-40B4-BE49-F238E27FC236}">
                <a16:creationId xmlns:a16="http://schemas.microsoft.com/office/drawing/2014/main" id="{A8DDF2FC-5B30-EC68-7D1E-670250C28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4379" y="1612040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70071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Introduc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1024" y="1696826"/>
            <a:ext cx="10784264" cy="4213780"/>
          </a:xfrm>
        </p:spPr>
        <p:txBody>
          <a:bodyPr/>
          <a:lstStyle/>
          <a:p>
            <a:r>
              <a:rPr lang="en-ZA" dirty="0"/>
              <a:t>Essential structures in the profession as they contribute directly and indirectly to the safety and quality of patient care</a:t>
            </a:r>
          </a:p>
          <a:p>
            <a:endParaRPr lang="en-ZA" dirty="0"/>
          </a:p>
          <a:p>
            <a:r>
              <a:rPr lang="en-ZA" dirty="0"/>
              <a:t>First priority is the well-being of the members of the profession</a:t>
            </a:r>
          </a:p>
          <a:p>
            <a:r>
              <a:rPr lang="en-ZA" dirty="0"/>
              <a:t>Contribute to the safety and security of patients and the health of the nation</a:t>
            </a:r>
          </a:p>
          <a:p>
            <a:endParaRPr lang="en-ZA" dirty="0"/>
          </a:p>
          <a:p>
            <a:r>
              <a:rPr lang="en-ZA" dirty="0"/>
              <a:t>The Constitution of the Republic of South Africa 1996, determines that all employees have a right to freedom of association</a:t>
            </a:r>
          </a:p>
        </p:txBody>
      </p:sp>
    </p:spTree>
    <p:extLst>
      <p:ext uri="{BB962C8B-B14F-4D97-AF65-F5344CB8AC3E}">
        <p14:creationId xmlns:p14="http://schemas.microsoft.com/office/powerpoint/2010/main" val="2844097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CE4038-0B3D-D044-0D50-CFCE09D1F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873" y="626024"/>
            <a:ext cx="11541596" cy="410369"/>
          </a:xfrm>
        </p:spPr>
        <p:txBody>
          <a:bodyPr wrap="square" anchor="b">
            <a:normAutofit/>
          </a:bodyPr>
          <a:lstStyle/>
          <a:p>
            <a:r>
              <a:rPr lang="en-US"/>
              <a:t>What is the difference between a trade union and professional association?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3033B502-9F79-9903-25DA-6794CE6848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3634" y="2060575"/>
            <a:ext cx="5863472" cy="4472200"/>
          </a:xfrm>
        </p:spPr>
        <p:txBody>
          <a:bodyPr/>
          <a:lstStyle/>
          <a:p>
            <a:r>
              <a:rPr lang="en-US" b="1" u="sng" dirty="0">
                <a:solidFill>
                  <a:srgbClr val="00B050"/>
                </a:solidFill>
              </a:rPr>
              <a:t>PROFESSIONAL ASSOCIATION:</a:t>
            </a:r>
          </a:p>
          <a:p>
            <a:endParaRPr lang="en-US" b="1" u="sng" dirty="0">
              <a:solidFill>
                <a:srgbClr val="00B050"/>
              </a:solidFill>
            </a:endParaRPr>
          </a:p>
          <a:p>
            <a:r>
              <a:rPr lang="en-US" i="1" dirty="0"/>
              <a:t>Promote solidarity among members – remain in touch with the community</a:t>
            </a:r>
          </a:p>
          <a:p>
            <a:r>
              <a:rPr lang="en-US" i="1" dirty="0"/>
              <a:t>Professional identity – restricting membership</a:t>
            </a:r>
          </a:p>
          <a:p>
            <a:r>
              <a:rPr lang="en-US" i="1" dirty="0"/>
              <a:t>Increase service potential – ongoing education, training, monitoring conduct</a:t>
            </a:r>
          </a:p>
          <a:p>
            <a:r>
              <a:rPr lang="en-US" i="1" dirty="0"/>
              <a:t>Keeps the welfare of the society in mind</a:t>
            </a:r>
          </a:p>
          <a:p>
            <a:r>
              <a:rPr lang="en-US" i="1" dirty="0"/>
              <a:t>Some offer professional indemnity</a:t>
            </a:r>
          </a:p>
          <a:p>
            <a:r>
              <a:rPr lang="en-US" i="1" dirty="0"/>
              <a:t>Publishing of journals</a:t>
            </a:r>
          </a:p>
          <a:p>
            <a:r>
              <a:rPr lang="en-US" i="1" dirty="0"/>
              <a:t>Research – encouraged by association, publication</a:t>
            </a:r>
          </a:p>
          <a:p>
            <a:r>
              <a:rPr lang="en-US" i="1" dirty="0"/>
              <a:t>Practice standards</a:t>
            </a:r>
          </a:p>
          <a:p>
            <a:endParaRPr lang="en-US" i="1" dirty="0"/>
          </a:p>
          <a:p>
            <a:endParaRPr lang="en-US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44E0455-20BC-D9F9-FB31-C259BD2FC0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00419" y="2031731"/>
            <a:ext cx="4581427" cy="4200245"/>
          </a:xfrm>
        </p:spPr>
        <p:txBody>
          <a:bodyPr/>
          <a:lstStyle/>
          <a:p>
            <a:r>
              <a:rPr lang="en-ZA" sz="1800" b="1" u="sng" dirty="0">
                <a:solidFill>
                  <a:srgbClr val="FF0000"/>
                </a:solidFill>
              </a:rPr>
              <a:t>TRADE UNION:</a:t>
            </a:r>
          </a:p>
          <a:p>
            <a:endParaRPr lang="en-ZA" b="1" u="sng" dirty="0">
              <a:solidFill>
                <a:srgbClr val="FF0000"/>
              </a:solidFill>
            </a:endParaRPr>
          </a:p>
          <a:p>
            <a:r>
              <a:rPr lang="en-ZA" i="1" dirty="0"/>
              <a:t>“</a:t>
            </a:r>
            <a:r>
              <a:rPr lang="en-ZA" sz="1800" i="1" dirty="0"/>
              <a:t>An association of employees whose </a:t>
            </a:r>
            <a:r>
              <a:rPr lang="en-ZA" sz="1800" b="1" i="1" dirty="0"/>
              <a:t>principal purpose </a:t>
            </a:r>
            <a:r>
              <a:rPr lang="en-ZA" sz="1800" i="1" dirty="0"/>
              <a:t>is to regulate relations between employers and employees, including any employers’ organisations”  </a:t>
            </a:r>
            <a:r>
              <a:rPr lang="en-ZA" sz="1800" dirty="0"/>
              <a:t>Labour Relations Act 1995 section 213 </a:t>
            </a:r>
          </a:p>
          <a:p>
            <a:endParaRPr lang="en-ZA" sz="1800" b="1" u="sng" dirty="0">
              <a:solidFill>
                <a:srgbClr val="FF0000"/>
              </a:solidFill>
            </a:endParaRPr>
          </a:p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9AE22B-1D78-8DCF-A0CF-F00033D526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43123" y="5257677"/>
            <a:ext cx="2276475" cy="1123950"/>
          </a:xfrm>
          <a:prstGeom prst="rect">
            <a:avLst/>
          </a:prstGeom>
        </p:spPr>
      </p:pic>
      <p:pic>
        <p:nvPicPr>
          <p:cNvPr id="8" name="Picture 2" descr="Hospersa Online (@HospersaOnline) / X">
            <a:extLst>
              <a:ext uri="{FF2B5EF4-FFF2-40B4-BE49-F238E27FC236}">
                <a16:creationId xmlns:a16="http://schemas.microsoft.com/office/drawing/2014/main" id="{DDC3E938-90E0-D27A-9073-E5E8716B25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132" y="4131853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5243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FUNCTION OF TRADE UNION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4578523"/>
          </a:xfrm>
        </p:spPr>
        <p:txBody>
          <a:bodyPr>
            <a:normAutofit/>
          </a:bodyPr>
          <a:lstStyle/>
          <a:p>
            <a:r>
              <a:rPr lang="en-ZA" sz="2800" dirty="0"/>
              <a:t>To ensure that the ethical principles of justice/fairness is practised in the relationship between employees and employers</a:t>
            </a:r>
          </a:p>
          <a:p>
            <a:endParaRPr lang="en-ZA" sz="2800" dirty="0"/>
          </a:p>
          <a:p>
            <a:r>
              <a:rPr lang="en-ZA" sz="2800" dirty="0"/>
              <a:t>Representing their members in grievance and disciplinary matters – with the goal of working towards a harmonised workplace</a:t>
            </a:r>
          </a:p>
          <a:p>
            <a:endParaRPr lang="en-ZA" sz="2800" dirty="0"/>
          </a:p>
          <a:p>
            <a:r>
              <a:rPr lang="en-ZA" sz="2800" dirty="0"/>
              <a:t>Organize and coordinate industrial action (strike)</a:t>
            </a:r>
          </a:p>
          <a:p>
            <a:endParaRPr lang="en-ZA" sz="2800" dirty="0"/>
          </a:p>
          <a:p>
            <a:endParaRPr lang="en-ZA" sz="2800" dirty="0"/>
          </a:p>
          <a:p>
            <a:pPr marL="0" indent="0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673977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84462" y="2026762"/>
            <a:ext cx="10746557" cy="3223968"/>
          </a:xfrm>
        </p:spPr>
        <p:txBody>
          <a:bodyPr>
            <a:normAutofit lnSpcReduction="10000"/>
          </a:bodyPr>
          <a:lstStyle/>
          <a:p>
            <a:r>
              <a:rPr lang="en-US" sz="2400" dirty="0"/>
              <a:t>Trade unions must be registered with the Department of </a:t>
            </a:r>
            <a:r>
              <a:rPr lang="en-US" sz="2400" dirty="0" err="1"/>
              <a:t>Labour</a:t>
            </a:r>
            <a:r>
              <a:rPr lang="en-US" sz="2400" dirty="0"/>
              <a:t> in terms of the </a:t>
            </a:r>
            <a:r>
              <a:rPr lang="en-US" sz="2400" dirty="0" err="1"/>
              <a:t>Labour</a:t>
            </a:r>
            <a:r>
              <a:rPr lang="en-US" sz="2400" dirty="0"/>
              <a:t> Relations Act</a:t>
            </a:r>
          </a:p>
          <a:p>
            <a:endParaRPr lang="en-US" sz="2400" dirty="0"/>
          </a:p>
          <a:p>
            <a:r>
              <a:rPr lang="en-US" sz="2400" dirty="0"/>
              <a:t>Deregistered for not complying with the requirements</a:t>
            </a:r>
          </a:p>
          <a:p>
            <a:endParaRPr lang="en-US" sz="2400" dirty="0"/>
          </a:p>
          <a:p>
            <a:r>
              <a:rPr lang="en-US" sz="2400" dirty="0"/>
              <a:t>Nurses can belong to any union registered with the Department of </a:t>
            </a:r>
            <a:r>
              <a:rPr lang="en-US" sz="2400" dirty="0" err="1"/>
              <a:t>Labour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DENOSA specifically represents nurses and they combine union and professional functions                                                                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8663" y="4273616"/>
            <a:ext cx="1847850" cy="247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2572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Benefits of membership of an association or a professional socie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864" y="2140085"/>
            <a:ext cx="10812544" cy="4223007"/>
          </a:xfrm>
        </p:spPr>
        <p:txBody>
          <a:bodyPr>
            <a:normAutofit/>
          </a:bodyPr>
          <a:lstStyle/>
          <a:p>
            <a:r>
              <a:rPr lang="en-US" dirty="0"/>
              <a:t>Newsletters, journals, access to workshops, webinars</a:t>
            </a:r>
          </a:p>
          <a:p>
            <a:r>
              <a:rPr lang="en-US" dirty="0"/>
              <a:t>Stay up to date with developments in the broader nursing profession</a:t>
            </a:r>
          </a:p>
          <a:p>
            <a:r>
              <a:rPr lang="en-US" dirty="0"/>
              <a:t>Alignment with a nursing society that supports your specialty</a:t>
            </a:r>
          </a:p>
          <a:p>
            <a:r>
              <a:rPr lang="en-US" dirty="0"/>
              <a:t>CPD</a:t>
            </a:r>
          </a:p>
          <a:p>
            <a:r>
              <a:rPr lang="en-US" dirty="0"/>
              <a:t>Influencing policy and legislation – quest for safe and quality care</a:t>
            </a:r>
          </a:p>
          <a:p>
            <a:r>
              <a:rPr lang="en-US" dirty="0"/>
              <a:t>Involvement in research projects</a:t>
            </a:r>
          </a:p>
          <a:p>
            <a:r>
              <a:rPr lang="en-US" dirty="0"/>
              <a:t>Collective vice in nursing issues</a:t>
            </a:r>
          </a:p>
          <a:p>
            <a:r>
              <a:rPr lang="en-US" dirty="0"/>
              <a:t>Leadership development and visibility through active involvement</a:t>
            </a:r>
          </a:p>
          <a:p>
            <a:r>
              <a:rPr lang="en-US" dirty="0"/>
              <a:t>Networking opportunities</a:t>
            </a:r>
          </a:p>
          <a:p>
            <a:r>
              <a:rPr lang="en-US" dirty="0"/>
              <a:t>Broadening our perspectiv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9982DF-7EE2-ED96-82EA-C1BC6F1EA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69652" y="1016136"/>
            <a:ext cx="2276475" cy="1123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2484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LES OF PROFESSIONAL ASSOCIATIONS OR ORGANIS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0961" y="1480008"/>
            <a:ext cx="11085921" cy="5340350"/>
          </a:xfrm>
        </p:spPr>
        <p:txBody>
          <a:bodyPr/>
          <a:lstStyle/>
          <a:p>
            <a:r>
              <a:rPr lang="en-US" dirty="0"/>
              <a:t>Promote solidarity among members – remain in touch with the community</a:t>
            </a:r>
          </a:p>
          <a:p>
            <a:endParaRPr lang="en-US" dirty="0"/>
          </a:p>
          <a:p>
            <a:r>
              <a:rPr lang="en-US" dirty="0"/>
              <a:t>Professional identity – restricting membership</a:t>
            </a:r>
          </a:p>
          <a:p>
            <a:endParaRPr lang="en-US" dirty="0"/>
          </a:p>
          <a:p>
            <a:r>
              <a:rPr lang="en-US" dirty="0"/>
              <a:t>Increase service potential – ongoing education, training, monitoring conduct</a:t>
            </a:r>
          </a:p>
          <a:p>
            <a:endParaRPr lang="en-US" dirty="0"/>
          </a:p>
          <a:p>
            <a:r>
              <a:rPr lang="en-US" dirty="0"/>
              <a:t>Keeps the welfare of the society in mind</a:t>
            </a:r>
          </a:p>
          <a:p>
            <a:endParaRPr lang="en-US" dirty="0"/>
          </a:p>
          <a:p>
            <a:r>
              <a:rPr lang="en-US" dirty="0"/>
              <a:t>Some offer professional indemnity</a:t>
            </a:r>
          </a:p>
          <a:p>
            <a:endParaRPr lang="en-US" dirty="0"/>
          </a:p>
          <a:p>
            <a:r>
              <a:rPr lang="en-US" dirty="0"/>
              <a:t>Publishing of journals</a:t>
            </a:r>
          </a:p>
          <a:p>
            <a:endParaRPr lang="en-US" dirty="0"/>
          </a:p>
          <a:p>
            <a:r>
              <a:rPr lang="en-US" dirty="0"/>
              <a:t>Research – encouraged by association, publication</a:t>
            </a:r>
          </a:p>
          <a:p>
            <a:endParaRPr lang="en-US" dirty="0"/>
          </a:p>
          <a:p>
            <a:r>
              <a:rPr lang="en-US" dirty="0"/>
              <a:t>Practice standards</a:t>
            </a:r>
          </a:p>
        </p:txBody>
      </p:sp>
    </p:spTree>
    <p:extLst>
      <p:ext uri="{BB962C8B-B14F-4D97-AF65-F5344CB8AC3E}">
        <p14:creationId xmlns:p14="http://schemas.microsoft.com/office/powerpoint/2010/main" val="2688324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hsUbpURm2roTBtWcRc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DRGXxQVC5QsPMP7s.1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8vd_.TWOCdZXdoUVU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Lifegroup_CF_DUV065">
  <a:themeElements>
    <a:clrScheme name="Custom">
      <a:dk1>
        <a:srgbClr val="000000"/>
      </a:dk1>
      <a:lt1>
        <a:srgbClr val="FFFFFF"/>
      </a:lt1>
      <a:dk2>
        <a:srgbClr val="1E3D57"/>
      </a:dk2>
      <a:lt2>
        <a:srgbClr val="64C3C4"/>
      </a:lt2>
      <a:accent1>
        <a:srgbClr val="7BB9ED"/>
      </a:accent1>
      <a:accent2>
        <a:srgbClr val="1E84D8"/>
      </a:accent2>
      <a:accent3>
        <a:srgbClr val="14578E"/>
      </a:accent3>
      <a:accent4>
        <a:srgbClr val="0C3456"/>
      </a:accent4>
      <a:accent5>
        <a:srgbClr val="D9272E"/>
      </a:accent5>
      <a:accent6>
        <a:srgbClr val="808080"/>
      </a:accent6>
      <a:hlink>
        <a:srgbClr val="14578E"/>
      </a:hlink>
      <a:folHlink>
        <a:srgbClr val="0C3456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1E3D57"/>
        </a:dk2>
        <a:lt2>
          <a:srgbClr val="64C3C4"/>
        </a:lt2>
        <a:accent1>
          <a:srgbClr val="7BB9ED"/>
        </a:accent1>
        <a:accent2>
          <a:srgbClr val="1E84D8"/>
        </a:accent2>
        <a:accent3>
          <a:srgbClr val="14578E"/>
        </a:accent3>
        <a:accent4>
          <a:srgbClr val="0C3456"/>
        </a:accent4>
        <a:accent5>
          <a:srgbClr val="D9272E"/>
        </a:accent5>
        <a:accent6>
          <a:srgbClr val="808080"/>
        </a:accent6>
        <a:hlink>
          <a:srgbClr val="14578E"/>
        </a:hlink>
        <a:folHlink>
          <a:srgbClr val="0C34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80911 Steerco 2 v.7 Abridged version 1100AM.potx" id="{309F05F6-F64B-4811-8B7D-EF164167096D}" vid="{E3856120-9109-4FDB-9B11-66E3EE27A2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9D89BBCDE8064CB5AD710227C5013A" ma:contentTypeVersion="11" ma:contentTypeDescription="Create a new document." ma:contentTypeScope="" ma:versionID="308b9833c506bfb6acbe207a8d9c4483">
  <xsd:schema xmlns:xsd="http://www.w3.org/2001/XMLSchema" xmlns:xs="http://www.w3.org/2001/XMLSchema" xmlns:p="http://schemas.microsoft.com/office/2006/metadata/properties" xmlns:ns2="7f7cd183-c0e3-4510-8ec7-224200262532" xmlns:ns3="8a520d22-e56f-4234-886d-20573e185ed7" targetNamespace="http://schemas.microsoft.com/office/2006/metadata/properties" ma:root="true" ma:fieldsID="b9a7013b5987674ef9e942f5c4c7d6b4" ns2:_="" ns3:_="">
    <xsd:import namespace="7f7cd183-c0e3-4510-8ec7-224200262532"/>
    <xsd:import namespace="8a520d22-e56f-4234-886d-20573e185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cd183-c0e3-4510-8ec7-2242002625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520d22-e56f-4234-886d-20573e185ed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431CF9-7722-4B08-9C81-0EEB784387C3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8a520d22-e56f-4234-886d-20573e185ed7"/>
    <ds:schemaRef ds:uri="http://purl.org/dc/terms/"/>
    <ds:schemaRef ds:uri="http://purl.org/dc/dcmitype/"/>
    <ds:schemaRef ds:uri="http://schemas.microsoft.com/office/infopath/2007/PartnerControls"/>
    <ds:schemaRef ds:uri="7f7cd183-c0e3-4510-8ec7-224200262532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31AF3C1-3893-49FA-8936-E6A68DBCF8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7cd183-c0e3-4510-8ec7-224200262532"/>
    <ds:schemaRef ds:uri="8a520d22-e56f-4234-886d-20573e185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3080715-94C1-4553-BB20-4E97E5F300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ppt</Template>
  <TotalTime>157</TotalTime>
  <Words>1288</Words>
  <Application>Microsoft Office PowerPoint</Application>
  <PresentationFormat>Widescreen</PresentationFormat>
  <Paragraphs>197</Paragraphs>
  <Slides>2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Arial</vt:lpstr>
      <vt:lpstr>Calibri</vt:lpstr>
      <vt:lpstr>Century Gothic</vt:lpstr>
      <vt:lpstr>Gotham Narrow Medium</vt:lpstr>
      <vt:lpstr>Trebuchet MS</vt:lpstr>
      <vt:lpstr>Lifegroup_CF_DUV065</vt:lpstr>
      <vt:lpstr>think-cell Slide</vt:lpstr>
      <vt:lpstr>Professional nursing associations and trade unions </vt:lpstr>
      <vt:lpstr>Outcomes </vt:lpstr>
      <vt:lpstr>PROFESSIONAL Nursing associations  </vt:lpstr>
      <vt:lpstr>Introduction </vt:lpstr>
      <vt:lpstr>What is the difference between a trade union and professional association?</vt:lpstr>
      <vt:lpstr>FUNCTION OF TRADE UNIONS </vt:lpstr>
      <vt:lpstr>PowerPoint Presentation</vt:lpstr>
      <vt:lpstr>Benefits of membership of an association or a professional society</vt:lpstr>
      <vt:lpstr>ROLES OF PROFESSIONAL ASSOCIATIONS OR ORGANISATIONS</vt:lpstr>
      <vt:lpstr>Indemnity </vt:lpstr>
      <vt:lpstr>Indemnity definition </vt:lpstr>
      <vt:lpstr>PowerPoint Presentation</vt:lpstr>
      <vt:lpstr>DENOSA</vt:lpstr>
      <vt:lpstr>South African democratic nurse’s union (SADNU)</vt:lpstr>
      <vt:lpstr>National education, health and allied workers union (NEHAWU)</vt:lpstr>
      <vt:lpstr>Health and other services personnel trade union of SA (HOSPERSA)</vt:lpstr>
      <vt:lpstr>CHALLENGES</vt:lpstr>
      <vt:lpstr>Strikes </vt:lpstr>
      <vt:lpstr>Essential and maintenance service </vt:lpstr>
      <vt:lpstr>Picketing vs striking </vt:lpstr>
      <vt:lpstr>Picketing </vt:lpstr>
      <vt:lpstr>Strikes and ethical concerns of a nurse </vt:lpstr>
      <vt:lpstr>Class activity </vt:lpstr>
      <vt:lpstr>Debate rules </vt:lpstr>
      <vt:lpstr>PowerPoint Presentation</vt:lpstr>
      <vt:lpstr>REFERENC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essional nursing associations and trade unions</dc:title>
  <dc:creator>Kruger,Mariska</dc:creator>
  <cp:lastModifiedBy>Maryke De Beer</cp:lastModifiedBy>
  <cp:revision>6</cp:revision>
  <cp:lastPrinted>2023-08-17T09:14:45Z</cp:lastPrinted>
  <dcterms:created xsi:type="dcterms:W3CDTF">2021-06-04T11:25:41Z</dcterms:created>
  <dcterms:modified xsi:type="dcterms:W3CDTF">2023-12-11T12:5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9D89BBCDE8064CB5AD710227C5013A</vt:lpwstr>
  </property>
</Properties>
</file>